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83" r:id="rId1"/>
  </p:sldMasterIdLst>
  <p:notesMasterIdLst>
    <p:notesMasterId r:id="rId3"/>
  </p:notesMasterIdLst>
  <p:handoutMasterIdLst>
    <p:handoutMasterId r:id="rId4"/>
  </p:handoutMasterIdLst>
  <p:sldIdLst>
    <p:sldId id="981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777">
          <p15:clr>
            <a:srgbClr val="A4A3A4"/>
          </p15:clr>
        </p15:guide>
        <p15:guide id="2" orient="horz" pos="4027">
          <p15:clr>
            <a:srgbClr val="A4A3A4"/>
          </p15:clr>
        </p15:guide>
        <p15:guide id="3" orient="horz" pos="2478">
          <p15:clr>
            <a:srgbClr val="A4A3A4"/>
          </p15:clr>
        </p15:guide>
        <p15:guide id="4" orient="horz" pos="459">
          <p15:clr>
            <a:srgbClr val="A4A3A4"/>
          </p15:clr>
        </p15:guide>
        <p15:guide id="5" orient="horz" pos="935">
          <p15:clr>
            <a:srgbClr val="A4A3A4"/>
          </p15:clr>
        </p15:guide>
        <p15:guide id="6" orient="horz" pos="3762">
          <p15:clr>
            <a:srgbClr val="A4A3A4"/>
          </p15:clr>
        </p15:guide>
        <p15:guide id="7" orient="horz" pos="3589">
          <p15:clr>
            <a:srgbClr val="A4A3A4"/>
          </p15:clr>
        </p15:guide>
        <p15:guide id="8" orient="horz" pos="1094">
          <p15:clr>
            <a:srgbClr val="A4A3A4"/>
          </p15:clr>
        </p15:guide>
        <p15:guide id="9" pos="5446">
          <p15:clr>
            <a:srgbClr val="A4A3A4"/>
          </p15:clr>
        </p15:guide>
        <p15:guide id="10" pos="413">
          <p15:clr>
            <a:srgbClr val="A4A3A4"/>
          </p15:clr>
        </p15:guide>
        <p15:guide id="11" pos="226">
          <p15:clr>
            <a:srgbClr val="A4A3A4"/>
          </p15:clr>
        </p15:guide>
        <p15:guide id="12" pos="5579">
          <p15:clr>
            <a:srgbClr val="A4A3A4"/>
          </p15:clr>
        </p15:guide>
        <p15:guide id="13" pos="2931">
          <p15:clr>
            <a:srgbClr val="A4A3A4"/>
          </p15:clr>
        </p15:guide>
        <p15:guide id="14" pos="2853">
          <p15:clr>
            <a:srgbClr val="A4A3A4"/>
          </p15:clr>
        </p15:guide>
        <p15:guide id="15" pos="3016">
          <p15:clr>
            <a:srgbClr val="A4A3A4"/>
          </p15:clr>
        </p15:guide>
        <p15:guide id="16" pos="156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9" name="Auteur" initials="A" lastIdx="0" clrIdx="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64B00"/>
    <a:srgbClr val="7F7F7F"/>
    <a:srgbClr val="003382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3" autoAdjust="0"/>
    <p:restoredTop sz="99852" autoAdjust="0"/>
  </p:normalViewPr>
  <p:slideViewPr>
    <p:cSldViewPr snapToObjects="1">
      <p:cViewPr varScale="1">
        <p:scale>
          <a:sx n="80" d="100"/>
          <a:sy n="80" d="100"/>
        </p:scale>
        <p:origin x="84" y="630"/>
      </p:cViewPr>
      <p:guideLst>
        <p:guide orient="horz" pos="777"/>
        <p:guide orient="horz" pos="4027"/>
        <p:guide orient="horz" pos="2478"/>
        <p:guide orient="horz" pos="459"/>
        <p:guide orient="horz" pos="935"/>
        <p:guide orient="horz" pos="3762"/>
        <p:guide orient="horz" pos="3589"/>
        <p:guide orient="horz" pos="1094"/>
        <p:guide pos="5446"/>
        <p:guide pos="413"/>
        <p:guide pos="226"/>
        <p:guide pos="5579"/>
        <p:guide pos="2931"/>
        <p:guide pos="2853"/>
        <p:guide pos="3016"/>
        <p:guide pos="15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0/10/2019</a:t>
            </a:fld>
            <a:endParaRPr lang="zh-CN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N°›</a:t>
            </a:fld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0/10/2019</a:t>
            </a:fld>
            <a:endParaRPr lang="zh-CN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N°›</a:t>
            </a:fld>
            <a:endParaRPr lang="zh-CN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4977646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70DA4662-6358-46F3-9F96-666D68807E4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5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70DA4662-6358-46F3-9F96-666D68807E4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C002143B-E9FD-4CF0-984F-3CE085ED6D8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8F2A64E7-108F-4E0C-95B3-CE72C4CDA12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7891787F-D0F4-4902-8DEE-D0F718EDEFB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10 Octo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283C314B-A711-450A-BE29-A936C1CCC8AF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5ADFE07-1436-48A6-A573-0BCC87F44641}" type="slidenum">
              <a:rPr lang="en-GB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AF93A119-53E0-4705-8BBF-71E9D840949A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4B6534CE-2757-48FC-8E44-1FB05C0B7A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39455CE0-C7B8-4CC3-AC78-0038111A35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4727 w 501"/>
                <a:gd name="T1" fmla="*/ 4134 h 429"/>
                <a:gd name="T2" fmla="*/ 4460 w 501"/>
                <a:gd name="T3" fmla="*/ 3789 h 429"/>
                <a:gd name="T4" fmla="*/ 4361 w 501"/>
                <a:gd name="T5" fmla="*/ 3659 h 429"/>
                <a:gd name="T6" fmla="*/ 3792 w 501"/>
                <a:gd name="T7" fmla="*/ 3392 h 429"/>
                <a:gd name="T8" fmla="*/ 3055 w 501"/>
                <a:gd name="T9" fmla="*/ 4134 h 429"/>
                <a:gd name="T10" fmla="*/ 3792 w 501"/>
                <a:gd name="T11" fmla="*/ 4860 h 429"/>
                <a:gd name="T12" fmla="*/ 4361 w 501"/>
                <a:gd name="T13" fmla="*/ 4597 h 429"/>
                <a:gd name="T14" fmla="*/ 4460 w 501"/>
                <a:gd name="T15" fmla="*/ 4465 h 429"/>
                <a:gd name="T16" fmla="*/ 4727 w 501"/>
                <a:gd name="T17" fmla="*/ 4134 h 429"/>
                <a:gd name="T18" fmla="*/ 2135 w 501"/>
                <a:gd name="T19" fmla="*/ 4117 h 429"/>
                <a:gd name="T20" fmla="*/ 3792 w 501"/>
                <a:gd name="T21" fmla="*/ 2479 h 429"/>
                <a:gd name="T22" fmla="*/ 5058 w 501"/>
                <a:gd name="T23" fmla="*/ 3061 h 429"/>
                <a:gd name="T24" fmla="*/ 5067 w 501"/>
                <a:gd name="T25" fmla="*/ 3089 h 429"/>
                <a:gd name="T26" fmla="*/ 5096 w 501"/>
                <a:gd name="T27" fmla="*/ 3077 h 429"/>
                <a:gd name="T28" fmla="*/ 3289 w 501"/>
                <a:gd name="T29" fmla="*/ 0 h 429"/>
                <a:gd name="T30" fmla="*/ 0 w 501"/>
                <a:gd name="T31" fmla="*/ 5666 h 429"/>
                <a:gd name="T32" fmla="*/ 3211 w 501"/>
                <a:gd name="T33" fmla="*/ 5666 h 429"/>
                <a:gd name="T34" fmla="*/ 3228 w 501"/>
                <a:gd name="T35" fmla="*/ 5654 h 429"/>
                <a:gd name="T36" fmla="*/ 2895 w 501"/>
                <a:gd name="T37" fmla="*/ 5510 h 429"/>
                <a:gd name="T38" fmla="*/ 2135 w 501"/>
                <a:gd name="T39" fmla="*/ 4117 h 429"/>
                <a:gd name="T40" fmla="*/ 6529 w 501"/>
                <a:gd name="T41" fmla="*/ 5637 h 429"/>
                <a:gd name="T42" fmla="*/ 6189 w 501"/>
                <a:gd name="T43" fmla="*/ 5547 h 429"/>
                <a:gd name="T44" fmla="*/ 5329 w 501"/>
                <a:gd name="T45" fmla="*/ 4843 h 429"/>
                <a:gd name="T46" fmla="*/ 5001 w 501"/>
                <a:gd name="T47" fmla="*/ 5257 h 429"/>
                <a:gd name="T48" fmla="*/ 4383 w 501"/>
                <a:gd name="T49" fmla="*/ 5654 h 429"/>
                <a:gd name="T50" fmla="*/ 4383 w 501"/>
                <a:gd name="T51" fmla="*/ 5666 h 429"/>
                <a:gd name="T52" fmla="*/ 6595 w 501"/>
                <a:gd name="T53" fmla="*/ 5666 h 429"/>
                <a:gd name="T54" fmla="*/ 6595 w 501"/>
                <a:gd name="T55" fmla="*/ 5654 h 429"/>
                <a:gd name="T56" fmla="*/ 6529 w 501"/>
                <a:gd name="T57" fmla="*/ 5637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72ED15D2-93FF-41A2-8FC7-FF6AC922B51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2257 w 937"/>
                <a:gd name="T1" fmla="*/ 1790 h 326"/>
                <a:gd name="T2" fmla="*/ 1028 w 937"/>
                <a:gd name="T3" fmla="*/ 1172 h 326"/>
                <a:gd name="T4" fmla="*/ 1647 w 937"/>
                <a:gd name="T5" fmla="*/ 697 h 326"/>
                <a:gd name="T6" fmla="*/ 2450 w 937"/>
                <a:gd name="T7" fmla="*/ 1316 h 326"/>
                <a:gd name="T8" fmla="*/ 3339 w 937"/>
                <a:gd name="T9" fmla="*/ 1316 h 326"/>
                <a:gd name="T10" fmla="*/ 1687 w 937"/>
                <a:gd name="T11" fmla="*/ 0 h 326"/>
                <a:gd name="T12" fmla="*/ 156 w 937"/>
                <a:gd name="T13" fmla="*/ 1238 h 326"/>
                <a:gd name="T14" fmla="*/ 1373 w 937"/>
                <a:gd name="T15" fmla="*/ 2409 h 326"/>
                <a:gd name="T16" fmla="*/ 2597 w 937"/>
                <a:gd name="T17" fmla="*/ 3085 h 326"/>
                <a:gd name="T18" fmla="*/ 1791 w 937"/>
                <a:gd name="T19" fmla="*/ 3597 h 326"/>
                <a:gd name="T20" fmla="*/ 881 w 937"/>
                <a:gd name="T21" fmla="*/ 2834 h 326"/>
                <a:gd name="T22" fmla="*/ 12 w 937"/>
                <a:gd name="T23" fmla="*/ 2834 h 326"/>
                <a:gd name="T24" fmla="*/ 1770 w 937"/>
                <a:gd name="T25" fmla="*/ 4296 h 326"/>
                <a:gd name="T26" fmla="*/ 3466 w 937"/>
                <a:gd name="T27" fmla="*/ 2978 h 326"/>
                <a:gd name="T28" fmla="*/ 2257 w 937"/>
                <a:gd name="T29" fmla="*/ 1790 h 326"/>
                <a:gd name="T30" fmla="*/ 7136 w 937"/>
                <a:gd name="T31" fmla="*/ 1597 h 326"/>
                <a:gd name="T32" fmla="*/ 7136 w 937"/>
                <a:gd name="T33" fmla="*/ 1597 h 326"/>
                <a:gd name="T34" fmla="*/ 6243 w 937"/>
                <a:gd name="T35" fmla="*/ 1143 h 326"/>
                <a:gd name="T36" fmla="*/ 4936 w 937"/>
                <a:gd name="T37" fmla="*/ 2688 h 326"/>
                <a:gd name="T38" fmla="*/ 6264 w 937"/>
                <a:gd name="T39" fmla="*/ 4285 h 326"/>
                <a:gd name="T40" fmla="*/ 7164 w 937"/>
                <a:gd name="T41" fmla="*/ 3822 h 326"/>
                <a:gd name="T42" fmla="*/ 7174 w 937"/>
                <a:gd name="T43" fmla="*/ 3822 h 326"/>
                <a:gd name="T44" fmla="*/ 7174 w 937"/>
                <a:gd name="T45" fmla="*/ 4202 h 326"/>
                <a:gd name="T46" fmla="*/ 7956 w 937"/>
                <a:gd name="T47" fmla="*/ 4202 h 326"/>
                <a:gd name="T48" fmla="*/ 7956 w 937"/>
                <a:gd name="T49" fmla="*/ 106 h 326"/>
                <a:gd name="T50" fmla="*/ 7136 w 937"/>
                <a:gd name="T51" fmla="*/ 106 h 326"/>
                <a:gd name="T52" fmla="*/ 7136 w 937"/>
                <a:gd name="T53" fmla="*/ 1597 h 326"/>
                <a:gd name="T54" fmla="*/ 6465 w 937"/>
                <a:gd name="T55" fmla="*/ 3666 h 326"/>
                <a:gd name="T56" fmla="*/ 5751 w 937"/>
                <a:gd name="T57" fmla="*/ 2716 h 326"/>
                <a:gd name="T58" fmla="*/ 6465 w 937"/>
                <a:gd name="T59" fmla="*/ 1769 h 326"/>
                <a:gd name="T60" fmla="*/ 7164 w 937"/>
                <a:gd name="T61" fmla="*/ 2700 h 326"/>
                <a:gd name="T62" fmla="*/ 6465 w 937"/>
                <a:gd name="T63" fmla="*/ 3666 h 326"/>
                <a:gd name="T64" fmla="*/ 9775 w 937"/>
                <a:gd name="T65" fmla="*/ 1143 h 326"/>
                <a:gd name="T66" fmla="*/ 8258 w 937"/>
                <a:gd name="T67" fmla="*/ 2716 h 326"/>
                <a:gd name="T68" fmla="*/ 9775 w 937"/>
                <a:gd name="T69" fmla="*/ 4285 h 326"/>
                <a:gd name="T70" fmla="*/ 11160 w 937"/>
                <a:gd name="T71" fmla="*/ 3281 h 326"/>
                <a:gd name="T72" fmla="*/ 10446 w 937"/>
                <a:gd name="T73" fmla="*/ 3281 h 326"/>
                <a:gd name="T74" fmla="*/ 9804 w 937"/>
                <a:gd name="T75" fmla="*/ 3666 h 326"/>
                <a:gd name="T76" fmla="*/ 9062 w 937"/>
                <a:gd name="T77" fmla="*/ 2912 h 326"/>
                <a:gd name="T78" fmla="*/ 11212 w 937"/>
                <a:gd name="T79" fmla="*/ 2912 h 326"/>
                <a:gd name="T80" fmla="*/ 9775 w 937"/>
                <a:gd name="T81" fmla="*/ 1143 h 326"/>
                <a:gd name="T82" fmla="*/ 9062 w 937"/>
                <a:gd name="T83" fmla="*/ 2400 h 326"/>
                <a:gd name="T84" fmla="*/ 9749 w 937"/>
                <a:gd name="T85" fmla="*/ 1769 h 326"/>
                <a:gd name="T86" fmla="*/ 10397 w 937"/>
                <a:gd name="T87" fmla="*/ 2400 h 326"/>
                <a:gd name="T88" fmla="*/ 9062 w 937"/>
                <a:gd name="T89" fmla="*/ 2400 h 326"/>
                <a:gd name="T90" fmla="*/ 11545 w 937"/>
                <a:gd name="T91" fmla="*/ 4202 h 326"/>
                <a:gd name="T92" fmla="*/ 12360 w 937"/>
                <a:gd name="T93" fmla="*/ 4202 h 326"/>
                <a:gd name="T94" fmla="*/ 12360 w 937"/>
                <a:gd name="T95" fmla="*/ 106 h 326"/>
                <a:gd name="T96" fmla="*/ 11545 w 937"/>
                <a:gd name="T97" fmla="*/ 106 h 326"/>
                <a:gd name="T98" fmla="*/ 11545 w 937"/>
                <a:gd name="T99" fmla="*/ 4202 h 326"/>
                <a:gd name="T100" fmla="*/ 3773 w 937"/>
                <a:gd name="T101" fmla="*/ 4202 h 326"/>
                <a:gd name="T102" fmla="*/ 4589 w 937"/>
                <a:gd name="T103" fmla="*/ 4202 h 326"/>
                <a:gd name="T104" fmla="*/ 4589 w 937"/>
                <a:gd name="T105" fmla="*/ 1228 h 326"/>
                <a:gd name="T106" fmla="*/ 3773 w 937"/>
                <a:gd name="T107" fmla="*/ 1228 h 326"/>
                <a:gd name="T108" fmla="*/ 3773 w 937"/>
                <a:gd name="T109" fmla="*/ 4202 h 326"/>
                <a:gd name="T110" fmla="*/ 3773 w 937"/>
                <a:gd name="T111" fmla="*/ 775 h 326"/>
                <a:gd name="T112" fmla="*/ 4589 w 937"/>
                <a:gd name="T113" fmla="*/ 775 h 326"/>
                <a:gd name="T114" fmla="*/ 4589 w 937"/>
                <a:gd name="T115" fmla="*/ 106 h 326"/>
                <a:gd name="T116" fmla="*/ 3773 w 937"/>
                <a:gd name="T117" fmla="*/ 106 h 326"/>
                <a:gd name="T118" fmla="*/ 3773 w 937"/>
                <a:gd name="T119" fmla="*/ 775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D9521967-59CA-49D4-B943-5306B4843B6A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958DC388-8B30-4117-9FFD-0FCC8370DA8C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8889746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4" r:id="rId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326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3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b="1" i="0" u="none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耗电量降低</a:t>
            </a:r>
            <a:r>
              <a:rPr b="1" i="0" u="none" dirty="0">
                <a:cs typeface="SimSun"/>
              </a:rPr>
              <a:t>20</a:t>
            </a:r>
            <a:r>
              <a:rPr b="1" i="0" u="none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%到</a:t>
            </a:r>
            <a:r>
              <a:rPr b="1" i="0" u="none" dirty="0">
                <a:cs typeface="SimSun"/>
              </a:rPr>
              <a:t>45</a:t>
            </a:r>
            <a:r>
              <a:rPr b="1" i="0" u="none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%</a:t>
            </a:r>
            <a:endParaRPr lang="zh-CN" b="0" dirty="0">
              <a:latin typeface="FZZhunYuan-M02S" panose="03000509000000000000" pitchFamily="65" charset="-122"/>
              <a:ea typeface="FZZhunYuan-M02S" panose="03000509000000000000" pitchFamily="65" charset="-122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59870" y="1435298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b="0" i="0" u="none" dirty="0">
                <a:latin typeface="+mj-lt"/>
                <a:cs typeface="SimSun"/>
              </a:rPr>
              <a:t>ECO</a:t>
            </a:r>
            <a:r>
              <a:rPr b="0" i="0" u="none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烘炉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US" sz="800" b="0" i="0" u="none" kern="0" dirty="0" err="1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价值：优化成本</a:t>
            </a:r>
            <a:r>
              <a:rPr lang="en-US" sz="800" b="0" i="0" u="none" kern="0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, </a:t>
            </a:r>
            <a:r>
              <a:rPr lang="ja-JP" altLang="fr-FR" sz="800" kern="0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可持续发展</a:t>
            </a:r>
            <a:endParaRPr lang="en-US" sz="800" b="0" i="0" u="none" kern="0" dirty="0">
              <a:latin typeface="FZZhunYuan-M02S" panose="03000509000000000000" pitchFamily="65" charset="-122"/>
              <a:ea typeface="FZZhunYuan-M02S" panose="03000509000000000000" pitchFamily="65" charset="-122"/>
              <a:cs typeface="SimSun"/>
            </a:endParaRPr>
          </a:p>
          <a:p>
            <a:r>
              <a:rPr lang="en-US" sz="800" b="0" i="0" u="none" kern="0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设备：</a:t>
            </a:r>
            <a:r>
              <a:rPr lang="en-US" sz="800" b="0" i="0" u="none" kern="0" dirty="0">
                <a:latin typeface="+mj-lt"/>
                <a:cs typeface="SimSun"/>
              </a:rPr>
              <a:t>Series2</a:t>
            </a:r>
            <a:r>
              <a:rPr lang="en-US" sz="800" b="0" i="0" u="none" kern="0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吹瓶机 </a:t>
            </a:r>
            <a:r>
              <a:rPr lang="zh-CN" altLang="fr-FR" sz="800" kern="0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除模型 </a:t>
            </a:r>
            <a:r>
              <a:rPr lang="fr-FR" altLang="zh-CN" sz="800" kern="0" dirty="0">
                <a:latin typeface="+mj-lt"/>
                <a:cs typeface="SimSun"/>
              </a:rPr>
              <a:t>PM &amp; PH</a:t>
            </a:r>
            <a:r>
              <a:rPr lang="en-US" sz="800" kern="0" dirty="0">
                <a:latin typeface="+mj-lt"/>
                <a:cs typeface="SimSun"/>
              </a:rPr>
              <a:t> </a:t>
            </a:r>
            <a:endParaRPr lang="zh-CN" sz="800" kern="0" dirty="0">
              <a:latin typeface="+mj-lt"/>
              <a:cs typeface="SimSun"/>
            </a:endParaRPr>
          </a:p>
          <a:p>
            <a:r>
              <a:rPr lang="en-US" sz="800" b="0" i="0" u="none" kern="0" dirty="0"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产品目录代码：</a:t>
            </a:r>
            <a:r>
              <a:rPr lang="en-US" sz="800" b="0" i="0" u="none" kern="0" dirty="0">
                <a:latin typeface="+mj-lt"/>
                <a:cs typeface="SimSun"/>
              </a:rPr>
              <a:t>978</a:t>
            </a:r>
            <a:endParaRPr lang="zh-CN" sz="800" kern="0" dirty="0">
              <a:latin typeface="+mj-lt"/>
            </a:endParaRP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chemeClr val="accent4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5056486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价值和优点</a:t>
                      </a:r>
                      <a:endParaRPr kumimoji="0" 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FZZhunYuan-M02S" panose="03000509000000000000" pitchFamily="65" charset="-122"/>
                        <a:ea typeface="FZZhunYuan-M02S" panose="03000509000000000000" pitchFamily="65" charset="-122"/>
                        <a:cs typeface="SimSun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描述</a:t>
                      </a:r>
                      <a:endParaRPr kumimoji="0" lang="zh-CN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ZZhunYuan-M02S" panose="03000509000000000000" pitchFamily="65" charset="-122"/>
                        <a:ea typeface="FZZhunYuan-M02S" panose="03000509000000000000" pitchFamily="65" charset="-122"/>
                        <a:cs typeface="SimSun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i="0" u="none" dirty="0">
                          <a:latin typeface="FZZhunYuan-M02S" panose="03000509000000000000" pitchFamily="65" charset="-122"/>
                          <a:ea typeface="FZZhunYuan-M02S" panose="03000509000000000000" pitchFamily="65" charset="-122"/>
                        </a:rPr>
                        <a:t>耗电量</a:t>
                      </a:r>
                      <a:r>
                        <a:rPr sz="1200" b="0" i="0" u="none" dirty="0">
                          <a:solidFill>
                            <a:schemeClr val="tx1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+mn-cs"/>
                        </a:rPr>
                        <a:t>降低</a:t>
                      </a:r>
                      <a:r>
                        <a:rPr lang="en-US" sz="1200" b="1" i="0" u="none" dirty="0">
                          <a:solidFill>
                            <a:schemeClr val="accent4"/>
                          </a:solidFill>
                          <a:latin typeface="+mj-lt"/>
                        </a:rPr>
                        <a:t>20</a:t>
                      </a:r>
                      <a:r>
                        <a:rPr lang="en-US" sz="1200" b="1" i="0" u="none" dirty="0">
                          <a:solidFill>
                            <a:schemeClr val="accent4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</a:rPr>
                        <a:t>%至</a:t>
                      </a:r>
                      <a:r>
                        <a:rPr lang="en-US" sz="1200" b="1" i="0" u="none" dirty="0">
                          <a:solidFill>
                            <a:schemeClr val="accent4"/>
                          </a:solidFill>
                          <a:latin typeface="+mj-lt"/>
                        </a:rPr>
                        <a:t>45</a:t>
                      </a:r>
                      <a:r>
                        <a:rPr lang="en-US" sz="1200" b="1" i="0" u="none" dirty="0">
                          <a:solidFill>
                            <a:schemeClr val="accent4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</a:rPr>
                        <a:t>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i="0" u="none" dirty="0">
                          <a:latin typeface="FZZhunYuan-M02S" panose="03000509000000000000" pitchFamily="65" charset="-122"/>
                          <a:ea typeface="FZZhunYuan-M02S" panose="03000509000000000000" pitchFamily="65" charset="-122"/>
                        </a:rPr>
                        <a:t>使用更少的加热灯管，减少</a:t>
                      </a:r>
                      <a:r>
                        <a:rPr lang="en-US" sz="1200" b="1" i="0" u="none" dirty="0">
                          <a:solidFill>
                            <a:schemeClr val="accent4"/>
                          </a:solidFill>
                          <a:latin typeface="+mj-lt"/>
                          <a:cs typeface="SimSun"/>
                        </a:rPr>
                        <a:t>11</a:t>
                      </a:r>
                      <a:r>
                        <a:rPr lang="en-US" sz="1200" b="1" i="0" u="none" dirty="0">
                          <a:solidFill>
                            <a:schemeClr val="accent4"/>
                          </a:solidFill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%</a:t>
                      </a:r>
                      <a:r>
                        <a:rPr lang="en-US" sz="1200" b="0" i="0" u="none" dirty="0">
                          <a:latin typeface="FZZhunYuan-M02S" panose="03000509000000000000" pitchFamily="65" charset="-122"/>
                          <a:ea typeface="FZZhunYuan-M02S" panose="03000509000000000000" pitchFamily="65" charset="-122"/>
                        </a:rPr>
                        <a:t>的装机功率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i="0" u="none" dirty="0">
                          <a:latin typeface="FZZhunYuan-M02S" panose="03000509000000000000" pitchFamily="65" charset="-122"/>
                          <a:ea typeface="FZZhunYuan-M02S" panose="03000509000000000000" pitchFamily="65" charset="-122"/>
                        </a:rPr>
                        <a:t>加热更具体：瓶胚表面分区更细，优化了瓶颈下拉伸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i="0" u="none" dirty="0">
                          <a:latin typeface="FZZhunYuan-M02S" panose="03000509000000000000" pitchFamily="65" charset="-122"/>
                          <a:ea typeface="FZZhunYuan-M02S" panose="03000509000000000000" pitchFamily="65" charset="-122"/>
                        </a:rPr>
                        <a:t>更易于维护：机器可切换使用备用加热模块，从而能够在工作台上检修加热模块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i="0" u="none" dirty="0">
                          <a:latin typeface="FZZhunYuan-M02S" panose="03000509000000000000" pitchFamily="65" charset="-122"/>
                          <a:ea typeface="FZZhunYuan-M02S" panose="03000509000000000000" pitchFamily="65" charset="-122"/>
                        </a:rPr>
                        <a:t>陶瓷件可通过高温热解效应自行清洁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新调节组件/烘炉支架：瓶颈冷却板采用独立安装，更加可靠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cs typeface="SimSun"/>
                        </a:rPr>
                        <a:t>Ecov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加热灯冷却模块不再使用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cs typeface="SimSun"/>
                        </a:rPr>
                        <a:t>Super Cobra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，每个模块专配有风扇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加热模块：只使用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FZZhunYuan-M02S" panose="03000509000000000000" pitchFamily="65" charset="-122"/>
                          <a:cs typeface="SimSun"/>
                        </a:rPr>
                        <a:t>8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个红外线灯管，加热灯管、陶瓷臂及炉顶反光板有效提升了加热效率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陶瓷炉顶反光板高度可调节，适应各种瓶胚长度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FZZhunYuan-M02S" panose="03000509000000000000" pitchFamily="65" charset="-122"/>
                        <a:ea typeface="FZZhunYuan-M02S" panose="03000509000000000000" pitchFamily="65" charset="-122"/>
                        <a:cs typeface="SimSun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布线：新增预接线电路控制柜，为各个风扇供电</a:t>
                      </a:r>
                      <a:endParaRPr dirty="0">
                        <a:latin typeface="FZZhunYuan-M02S" panose="03000509000000000000" pitchFamily="65" charset="-122"/>
                        <a:ea typeface="FZZhunYuan-M02S" panose="03000509000000000000" pitchFamily="65" charset="-122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FZZhunYuan-M02S" panose="03000509000000000000" pitchFamily="65" charset="-122"/>
                          <a:ea typeface="FZZhunYuan-M02S" panose="03000509000000000000" pitchFamily="65" charset="-122"/>
                          <a:cs typeface="SimSun"/>
                        </a:rPr>
                        <a:t>新型自动化和工艺：更新电源电气控制柜（电源，增添新功能，重新调整所有工序卡）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1660" y="4005064"/>
            <a:ext cx="2564514" cy="162018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9FE1859A-E468-47F3-8F2B-996E8E7DD3E7}"/>
              </a:ext>
            </a:extLst>
          </p:cNvPr>
          <p:cNvSpPr/>
          <p:nvPr/>
        </p:nvSpPr>
        <p:spPr>
          <a:xfrm>
            <a:off x="4760335" y="1743075"/>
            <a:ext cx="3889375" cy="393700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lvl="0" fontAlgn="base">
              <a:spcBef>
                <a:spcPts val="300"/>
              </a:spcBef>
              <a:buClr>
                <a:schemeClr val="folHlink"/>
              </a:buClr>
            </a:pPr>
            <a:r>
              <a:rPr lang="de-CH" altLang="de-DE" sz="1400" b="1" noProof="1">
                <a:solidFill>
                  <a:schemeClr val="bg1"/>
                </a:solidFill>
                <a:latin typeface="FZZhunYuan-M02S" panose="03000509000000000000" pitchFamily="65" charset="-122"/>
                <a:ea typeface="FZZhunYuan-M02S" panose="03000509000000000000" pitchFamily="65" charset="-122"/>
                <a:cs typeface="SimSun"/>
              </a:rPr>
              <a:t>描述</a:t>
            </a:r>
            <a:endParaRPr lang="zh-CN" altLang="de-DE" sz="1400" dirty="0">
              <a:solidFill>
                <a:schemeClr val="bg1"/>
              </a:solidFill>
              <a:latin typeface="FZZhunYuan-M02S" panose="03000509000000000000" pitchFamily="65" charset="-122"/>
              <a:ea typeface="FZZhunYuan-M02S" panose="03000509000000000000" pitchFamily="65" charset="-122"/>
              <a:cs typeface="SimSun"/>
            </a:endParaRPr>
          </a:p>
        </p:txBody>
      </p:sp>
    </p:spTree>
    <p:extLst>
      <p:ext uri="{BB962C8B-B14F-4D97-AF65-F5344CB8AC3E}">
        <p14:creationId xmlns:p14="http://schemas.microsoft.com/office/powerpoint/2010/main" val="400905767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97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9" baseType="lpstr">
      <vt:lpstr>FZZhunYuan-M02S</vt:lpstr>
      <vt:lpstr>SimSun</vt:lpstr>
      <vt:lpstr>SimSun</vt:lpstr>
      <vt:lpstr>Arial</vt:lpstr>
      <vt:lpstr>Calibri</vt:lpstr>
      <vt:lpstr>Wingdings</vt:lpstr>
      <vt:lpstr>NewSidel_Template_4x3_with add layouts</vt:lpstr>
      <vt:lpstr>think-cell Folie</vt:lpstr>
      <vt:lpstr>耗电量降低20%到45%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19-10-10T14:57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4:57:59.6961829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